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44" r:id="rId1"/>
  </p:sldMasterIdLst>
  <p:notesMasterIdLst>
    <p:notesMasterId r:id="rId9"/>
  </p:notesMasterIdLst>
  <p:handoutMasterIdLst>
    <p:handoutMasterId r:id="rId10"/>
  </p:handoutMasterIdLst>
  <p:sldIdLst>
    <p:sldId id="1814984041" r:id="rId2"/>
    <p:sldId id="1814984039" r:id="rId3"/>
    <p:sldId id="1814984076" r:id="rId4"/>
    <p:sldId id="1814984082" r:id="rId5"/>
    <p:sldId id="1814984070" r:id="rId6"/>
    <p:sldId id="1814984072" r:id="rId7"/>
    <p:sldId id="1814984083" r:id="rId8"/>
  </p:sldIdLst>
  <p:sldSz cx="12188825" cy="6858000"/>
  <p:notesSz cx="6858000" cy="9144000"/>
  <p:defaultTextStyle>
    <a:defPPr>
      <a:defRPr lang="en-US"/>
    </a:defPPr>
    <a:lvl1pPr marL="0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17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835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252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669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085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504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5919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337" algn="l" defTabSz="6094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51">
          <p15:clr>
            <a:srgbClr val="A4A3A4"/>
          </p15:clr>
        </p15:guide>
        <p15:guide id="2" pos="42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FF"/>
    <a:srgbClr val="759FFF"/>
    <a:srgbClr val="CF6969"/>
    <a:srgbClr val="FF6666"/>
    <a:srgbClr val="FF8000"/>
    <a:srgbClr val="7F7F7F"/>
    <a:srgbClr val="000000"/>
    <a:srgbClr val="00A2BF"/>
    <a:srgbClr val="39BBB9"/>
    <a:srgbClr val="B8E1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6" autoAdjust="0"/>
    <p:restoredTop sz="95235" autoAdjust="0"/>
  </p:normalViewPr>
  <p:slideViewPr>
    <p:cSldViewPr snapToGrid="0">
      <p:cViewPr varScale="1">
        <p:scale>
          <a:sx n="86" d="100"/>
          <a:sy n="86" d="100"/>
        </p:scale>
        <p:origin x="248" y="760"/>
      </p:cViewPr>
      <p:guideLst>
        <p:guide orient="horz" pos="1451"/>
        <p:guide pos="42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-2580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065BC0F-0985-417F-B3E6-278DE8FF856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DD54C69-3B84-4302-A0F3-1E0346DB1E3E}">
      <dgm:prSet phldrT="[Text]"/>
      <dgm:spPr/>
      <dgm:t>
        <a:bodyPr/>
        <a:lstStyle/>
        <a:p>
          <a:r>
            <a:rPr lang="en-US" dirty="0"/>
            <a:t>Architecture</a:t>
          </a:r>
        </a:p>
      </dgm:t>
    </dgm:pt>
    <dgm:pt modelId="{A965441E-49EB-4254-AA98-A12AEAF5B616}" type="parTrans" cxnId="{5DADCFDD-8ECD-49CE-B64A-79853040DFE1}">
      <dgm:prSet/>
      <dgm:spPr/>
      <dgm:t>
        <a:bodyPr/>
        <a:lstStyle/>
        <a:p>
          <a:endParaRPr lang="en-US"/>
        </a:p>
      </dgm:t>
    </dgm:pt>
    <dgm:pt modelId="{D8BFDA76-935F-466D-A08F-F2B6DB34B02F}" type="sibTrans" cxnId="{5DADCFDD-8ECD-49CE-B64A-79853040DFE1}">
      <dgm:prSet/>
      <dgm:spPr/>
      <dgm:t>
        <a:bodyPr/>
        <a:lstStyle/>
        <a:p>
          <a:endParaRPr lang="en-US"/>
        </a:p>
      </dgm:t>
    </dgm:pt>
    <dgm:pt modelId="{F40F5B50-4667-4BCF-AE82-639C2EF36E38}">
      <dgm:prSet phldrT="[Text]"/>
      <dgm:spPr/>
      <dgm:t>
        <a:bodyPr/>
        <a:lstStyle/>
        <a:p>
          <a:r>
            <a:rPr lang="en-US" dirty="0"/>
            <a:t>Server Design</a:t>
          </a:r>
        </a:p>
      </dgm:t>
    </dgm:pt>
    <dgm:pt modelId="{8B36601F-F847-4CD6-9F6C-B83CDE11F2F0}" type="parTrans" cxnId="{B74327EB-A11D-422C-82F8-453C7FD42DB3}">
      <dgm:prSet/>
      <dgm:spPr/>
      <dgm:t>
        <a:bodyPr/>
        <a:lstStyle/>
        <a:p>
          <a:endParaRPr lang="en-US"/>
        </a:p>
      </dgm:t>
    </dgm:pt>
    <dgm:pt modelId="{2BCA34A9-634C-4052-A5B2-B32425DED279}" type="sibTrans" cxnId="{B74327EB-A11D-422C-82F8-453C7FD42DB3}">
      <dgm:prSet/>
      <dgm:spPr/>
      <dgm:t>
        <a:bodyPr/>
        <a:lstStyle/>
        <a:p>
          <a:endParaRPr lang="en-US"/>
        </a:p>
      </dgm:t>
    </dgm:pt>
    <dgm:pt modelId="{B06766E9-09A7-46C5-BE98-64DF8BE8B4CE}">
      <dgm:prSet phldrT="[Text]"/>
      <dgm:spPr/>
      <dgm:t>
        <a:bodyPr/>
        <a:lstStyle/>
        <a:p>
          <a:r>
            <a:rPr lang="en-US" dirty="0"/>
            <a:t>UI Design</a:t>
          </a:r>
        </a:p>
      </dgm:t>
    </dgm:pt>
    <dgm:pt modelId="{2B6D43C5-FEFB-47BF-8DE8-A59B49A7102F}" type="parTrans" cxnId="{522C6460-8ABE-4C68-951A-7C21F791E34E}">
      <dgm:prSet/>
      <dgm:spPr/>
      <dgm:t>
        <a:bodyPr/>
        <a:lstStyle/>
        <a:p>
          <a:endParaRPr lang="en-US"/>
        </a:p>
      </dgm:t>
    </dgm:pt>
    <dgm:pt modelId="{51D2BCDE-BD52-4053-A6A1-3B2BE5D3AAF1}" type="sibTrans" cxnId="{522C6460-8ABE-4C68-951A-7C21F791E34E}">
      <dgm:prSet/>
      <dgm:spPr/>
      <dgm:t>
        <a:bodyPr/>
        <a:lstStyle/>
        <a:p>
          <a:endParaRPr lang="en-US"/>
        </a:p>
      </dgm:t>
    </dgm:pt>
    <dgm:pt modelId="{A31880B0-B41D-428F-9A17-351004C1C5EF}">
      <dgm:prSet phldrT="[Text]"/>
      <dgm:spPr/>
      <dgm:t>
        <a:bodyPr/>
        <a:lstStyle/>
        <a:p>
          <a:r>
            <a:rPr lang="en-US" dirty="0"/>
            <a:t>List of REST APIs</a:t>
          </a:r>
        </a:p>
      </dgm:t>
    </dgm:pt>
    <dgm:pt modelId="{3893D1AA-8C41-44B8-8BFB-B255EA7B1D11}" type="parTrans" cxnId="{EFDF047A-BFAD-4287-B145-BFC43DD8621A}">
      <dgm:prSet/>
      <dgm:spPr/>
      <dgm:t>
        <a:bodyPr/>
        <a:lstStyle/>
        <a:p>
          <a:endParaRPr lang="en-US"/>
        </a:p>
      </dgm:t>
    </dgm:pt>
    <dgm:pt modelId="{8E67FDFF-5B74-473D-8436-90CE435B60A3}" type="sibTrans" cxnId="{EFDF047A-BFAD-4287-B145-BFC43DD8621A}">
      <dgm:prSet/>
      <dgm:spPr/>
      <dgm:t>
        <a:bodyPr/>
        <a:lstStyle/>
        <a:p>
          <a:endParaRPr lang="en-US"/>
        </a:p>
      </dgm:t>
    </dgm:pt>
    <dgm:pt modelId="{E36CA741-5BC5-4A62-9CFC-D7EE84B3F965}">
      <dgm:prSet phldrT="[Text]"/>
      <dgm:spPr/>
      <dgm:t>
        <a:bodyPr/>
        <a:lstStyle/>
        <a:p>
          <a:r>
            <a:rPr lang="en-US" dirty="0"/>
            <a:t>UI</a:t>
          </a:r>
          <a:r>
            <a:rPr lang="en-US" baseline="0" dirty="0"/>
            <a:t> Mockup Screen</a:t>
          </a:r>
          <a:endParaRPr lang="en-US" dirty="0"/>
        </a:p>
      </dgm:t>
    </dgm:pt>
    <dgm:pt modelId="{4A5BD853-E535-4983-B1C1-549D30D61334}" type="parTrans" cxnId="{57EAD2DF-EAE9-4674-91E7-2EDA8CBEC7D0}">
      <dgm:prSet/>
      <dgm:spPr/>
      <dgm:t>
        <a:bodyPr/>
        <a:lstStyle/>
        <a:p>
          <a:endParaRPr lang="en-US"/>
        </a:p>
      </dgm:t>
    </dgm:pt>
    <dgm:pt modelId="{781ED441-C1AD-4EA9-9636-8463FD77C51E}" type="sibTrans" cxnId="{57EAD2DF-EAE9-4674-91E7-2EDA8CBEC7D0}">
      <dgm:prSet/>
      <dgm:spPr/>
      <dgm:t>
        <a:bodyPr/>
        <a:lstStyle/>
        <a:p>
          <a:endParaRPr lang="en-US"/>
        </a:p>
      </dgm:t>
    </dgm:pt>
    <dgm:pt modelId="{7C60B676-A79A-4F95-969D-190864F0AD26}" type="pres">
      <dgm:prSet presAssocID="{3065BC0F-0985-417F-B3E6-278DE8FF856C}" presName="Name0" presStyleCnt="0">
        <dgm:presLayoutVars>
          <dgm:chMax val="7"/>
          <dgm:chPref val="7"/>
          <dgm:dir/>
        </dgm:presLayoutVars>
      </dgm:prSet>
      <dgm:spPr/>
    </dgm:pt>
    <dgm:pt modelId="{2E5DA867-38E0-4BF7-8EFB-20BEC13BABD7}" type="pres">
      <dgm:prSet presAssocID="{3065BC0F-0985-417F-B3E6-278DE8FF856C}" presName="Name1" presStyleCnt="0"/>
      <dgm:spPr/>
    </dgm:pt>
    <dgm:pt modelId="{91856EEE-67EA-47B9-8E5D-435F40D45F65}" type="pres">
      <dgm:prSet presAssocID="{3065BC0F-0985-417F-B3E6-278DE8FF856C}" presName="cycle" presStyleCnt="0"/>
      <dgm:spPr/>
    </dgm:pt>
    <dgm:pt modelId="{9EEFD4F7-6F5D-4F24-9208-C6278B0DCB86}" type="pres">
      <dgm:prSet presAssocID="{3065BC0F-0985-417F-B3E6-278DE8FF856C}" presName="srcNode" presStyleLbl="node1" presStyleIdx="0" presStyleCnt="5"/>
      <dgm:spPr/>
    </dgm:pt>
    <dgm:pt modelId="{C84543F5-63AD-473C-ABD1-7D95E7AA0F4E}" type="pres">
      <dgm:prSet presAssocID="{3065BC0F-0985-417F-B3E6-278DE8FF856C}" presName="conn" presStyleLbl="parChTrans1D2" presStyleIdx="0" presStyleCnt="1"/>
      <dgm:spPr/>
    </dgm:pt>
    <dgm:pt modelId="{1B0C0003-1659-4C6A-9614-26F791517E8D}" type="pres">
      <dgm:prSet presAssocID="{3065BC0F-0985-417F-B3E6-278DE8FF856C}" presName="extraNode" presStyleLbl="node1" presStyleIdx="0" presStyleCnt="5"/>
      <dgm:spPr/>
    </dgm:pt>
    <dgm:pt modelId="{97898179-E199-4585-9751-D270F1000939}" type="pres">
      <dgm:prSet presAssocID="{3065BC0F-0985-417F-B3E6-278DE8FF856C}" presName="dstNode" presStyleLbl="node1" presStyleIdx="0" presStyleCnt="5"/>
      <dgm:spPr/>
    </dgm:pt>
    <dgm:pt modelId="{4BEB9FD1-632D-4613-8DFD-DA8314D2463D}" type="pres">
      <dgm:prSet presAssocID="{EDD54C69-3B84-4302-A0F3-1E0346DB1E3E}" presName="text_1" presStyleLbl="node1" presStyleIdx="0" presStyleCnt="5">
        <dgm:presLayoutVars>
          <dgm:bulletEnabled val="1"/>
        </dgm:presLayoutVars>
      </dgm:prSet>
      <dgm:spPr/>
    </dgm:pt>
    <dgm:pt modelId="{92D71F2C-E6AE-44A9-9FEB-50EB49E5567F}" type="pres">
      <dgm:prSet presAssocID="{EDD54C69-3B84-4302-A0F3-1E0346DB1E3E}" presName="accent_1" presStyleCnt="0"/>
      <dgm:spPr/>
    </dgm:pt>
    <dgm:pt modelId="{32FEDAB8-7D6E-4888-A6CF-799CB97DC5E7}" type="pres">
      <dgm:prSet presAssocID="{EDD54C69-3B84-4302-A0F3-1E0346DB1E3E}" presName="accentRepeatNode" presStyleLbl="solidFgAcc1" presStyleIdx="0" presStyleCnt="5"/>
      <dgm:spPr/>
    </dgm:pt>
    <dgm:pt modelId="{8491E3A3-712D-44B4-8E48-E775048AA2EE}" type="pres">
      <dgm:prSet presAssocID="{F40F5B50-4667-4BCF-AE82-639C2EF36E38}" presName="text_2" presStyleLbl="node1" presStyleIdx="1" presStyleCnt="5" custLinFactNeighborX="-444">
        <dgm:presLayoutVars>
          <dgm:bulletEnabled val="1"/>
        </dgm:presLayoutVars>
      </dgm:prSet>
      <dgm:spPr/>
    </dgm:pt>
    <dgm:pt modelId="{870CDD97-6EDC-4848-A5F7-DFAB725F0377}" type="pres">
      <dgm:prSet presAssocID="{F40F5B50-4667-4BCF-AE82-639C2EF36E38}" presName="accent_2" presStyleCnt="0"/>
      <dgm:spPr/>
    </dgm:pt>
    <dgm:pt modelId="{66ADAEB2-ED39-4544-90C2-74CB13B99456}" type="pres">
      <dgm:prSet presAssocID="{F40F5B50-4667-4BCF-AE82-639C2EF36E38}" presName="accentRepeatNode" presStyleLbl="solidFgAcc1" presStyleIdx="1" presStyleCnt="5"/>
      <dgm:spPr/>
    </dgm:pt>
    <dgm:pt modelId="{AF6199BD-52D3-4417-BEF2-575723C20D37}" type="pres">
      <dgm:prSet presAssocID="{A31880B0-B41D-428F-9A17-351004C1C5EF}" presName="text_3" presStyleLbl="node1" presStyleIdx="2" presStyleCnt="5" custLinFactNeighborX="-444">
        <dgm:presLayoutVars>
          <dgm:bulletEnabled val="1"/>
        </dgm:presLayoutVars>
      </dgm:prSet>
      <dgm:spPr/>
    </dgm:pt>
    <dgm:pt modelId="{CB78B1AF-EF6C-44D2-8B36-8214B71C2218}" type="pres">
      <dgm:prSet presAssocID="{A31880B0-B41D-428F-9A17-351004C1C5EF}" presName="accent_3" presStyleCnt="0"/>
      <dgm:spPr/>
    </dgm:pt>
    <dgm:pt modelId="{9C954C0A-CB99-4C82-ADB0-559A283BC39F}" type="pres">
      <dgm:prSet presAssocID="{A31880B0-B41D-428F-9A17-351004C1C5EF}" presName="accentRepeatNode" presStyleLbl="solidFgAcc1" presStyleIdx="2" presStyleCnt="5"/>
      <dgm:spPr/>
    </dgm:pt>
    <dgm:pt modelId="{0084A962-130C-6043-9C4B-EE0928681D08}" type="pres">
      <dgm:prSet presAssocID="{E36CA741-5BC5-4A62-9CFC-D7EE84B3F965}" presName="text_4" presStyleLbl="node1" presStyleIdx="3" presStyleCnt="5">
        <dgm:presLayoutVars>
          <dgm:bulletEnabled val="1"/>
        </dgm:presLayoutVars>
      </dgm:prSet>
      <dgm:spPr/>
    </dgm:pt>
    <dgm:pt modelId="{CEBA4DF5-A244-2549-B0EA-F0FEE4F74661}" type="pres">
      <dgm:prSet presAssocID="{E36CA741-5BC5-4A62-9CFC-D7EE84B3F965}" presName="accent_4" presStyleCnt="0"/>
      <dgm:spPr/>
    </dgm:pt>
    <dgm:pt modelId="{8E1008D4-9BEE-4C7E-BB5A-08EF3B62FD1F}" type="pres">
      <dgm:prSet presAssocID="{E36CA741-5BC5-4A62-9CFC-D7EE84B3F965}" presName="accentRepeatNode" presStyleLbl="solidFgAcc1" presStyleIdx="3" presStyleCnt="5"/>
      <dgm:spPr/>
    </dgm:pt>
    <dgm:pt modelId="{5EFCEE4F-26EF-0F4B-8740-A1301D313B32}" type="pres">
      <dgm:prSet presAssocID="{B06766E9-09A7-46C5-BE98-64DF8BE8B4CE}" presName="text_5" presStyleLbl="node1" presStyleIdx="4" presStyleCnt="5">
        <dgm:presLayoutVars>
          <dgm:bulletEnabled val="1"/>
        </dgm:presLayoutVars>
      </dgm:prSet>
      <dgm:spPr/>
    </dgm:pt>
    <dgm:pt modelId="{BF4FDABC-E369-5648-9127-6E480109F993}" type="pres">
      <dgm:prSet presAssocID="{B06766E9-09A7-46C5-BE98-64DF8BE8B4CE}" presName="accent_5" presStyleCnt="0"/>
      <dgm:spPr/>
    </dgm:pt>
    <dgm:pt modelId="{5C6ADFF9-65CD-42A0-B543-B2F1410B9429}" type="pres">
      <dgm:prSet presAssocID="{B06766E9-09A7-46C5-BE98-64DF8BE8B4CE}" presName="accentRepeatNode" presStyleLbl="solidFgAcc1" presStyleIdx="4" presStyleCnt="5"/>
      <dgm:spPr/>
    </dgm:pt>
  </dgm:ptLst>
  <dgm:cxnLst>
    <dgm:cxn modelId="{B8FAEE05-DD63-41A0-A393-661362900C62}" type="presOf" srcId="{D8BFDA76-935F-466D-A08F-F2B6DB34B02F}" destId="{C84543F5-63AD-473C-ABD1-7D95E7AA0F4E}" srcOrd="0" destOrd="0" presId="urn:microsoft.com/office/officeart/2008/layout/VerticalCurvedList"/>
    <dgm:cxn modelId="{D501270D-5B7E-450C-AC41-FD7827BB69B4}" type="presOf" srcId="{EDD54C69-3B84-4302-A0F3-1E0346DB1E3E}" destId="{4BEB9FD1-632D-4613-8DFD-DA8314D2463D}" srcOrd="0" destOrd="0" presId="urn:microsoft.com/office/officeart/2008/layout/VerticalCurvedList"/>
    <dgm:cxn modelId="{3EA14454-6BC7-4109-93B5-EA53CA5D4053}" type="presOf" srcId="{F40F5B50-4667-4BCF-AE82-639C2EF36E38}" destId="{8491E3A3-712D-44B4-8E48-E775048AA2EE}" srcOrd="0" destOrd="0" presId="urn:microsoft.com/office/officeart/2008/layout/VerticalCurvedList"/>
    <dgm:cxn modelId="{522C6460-8ABE-4C68-951A-7C21F791E34E}" srcId="{3065BC0F-0985-417F-B3E6-278DE8FF856C}" destId="{B06766E9-09A7-46C5-BE98-64DF8BE8B4CE}" srcOrd="4" destOrd="0" parTransId="{2B6D43C5-FEFB-47BF-8DE8-A59B49A7102F}" sibTransId="{51D2BCDE-BD52-4053-A6A1-3B2BE5D3AAF1}"/>
    <dgm:cxn modelId="{026CE377-08C0-4C21-B1E6-B7F9AF9EE81C}" type="presOf" srcId="{3065BC0F-0985-417F-B3E6-278DE8FF856C}" destId="{7C60B676-A79A-4F95-969D-190864F0AD26}" srcOrd="0" destOrd="0" presId="urn:microsoft.com/office/officeart/2008/layout/VerticalCurvedList"/>
    <dgm:cxn modelId="{EFDF047A-BFAD-4287-B145-BFC43DD8621A}" srcId="{3065BC0F-0985-417F-B3E6-278DE8FF856C}" destId="{A31880B0-B41D-428F-9A17-351004C1C5EF}" srcOrd="2" destOrd="0" parTransId="{3893D1AA-8C41-44B8-8BFB-B255EA7B1D11}" sibTransId="{8E67FDFF-5B74-473D-8436-90CE435B60A3}"/>
    <dgm:cxn modelId="{30017788-D1FD-0B40-B5CC-6DD2D1C07523}" type="presOf" srcId="{E36CA741-5BC5-4A62-9CFC-D7EE84B3F965}" destId="{0084A962-130C-6043-9C4B-EE0928681D08}" srcOrd="0" destOrd="0" presId="urn:microsoft.com/office/officeart/2008/layout/VerticalCurvedList"/>
    <dgm:cxn modelId="{27228FB2-3A21-2240-AFF6-310A8828A609}" type="presOf" srcId="{B06766E9-09A7-46C5-BE98-64DF8BE8B4CE}" destId="{5EFCEE4F-26EF-0F4B-8740-A1301D313B32}" srcOrd="0" destOrd="0" presId="urn:microsoft.com/office/officeart/2008/layout/VerticalCurvedList"/>
    <dgm:cxn modelId="{5C9E76D2-EFF1-4935-A9CC-CA6130A19F50}" type="presOf" srcId="{A31880B0-B41D-428F-9A17-351004C1C5EF}" destId="{AF6199BD-52D3-4417-BEF2-575723C20D37}" srcOrd="0" destOrd="0" presId="urn:microsoft.com/office/officeart/2008/layout/VerticalCurvedList"/>
    <dgm:cxn modelId="{5DADCFDD-8ECD-49CE-B64A-79853040DFE1}" srcId="{3065BC0F-0985-417F-B3E6-278DE8FF856C}" destId="{EDD54C69-3B84-4302-A0F3-1E0346DB1E3E}" srcOrd="0" destOrd="0" parTransId="{A965441E-49EB-4254-AA98-A12AEAF5B616}" sibTransId="{D8BFDA76-935F-466D-A08F-F2B6DB34B02F}"/>
    <dgm:cxn modelId="{57EAD2DF-EAE9-4674-91E7-2EDA8CBEC7D0}" srcId="{3065BC0F-0985-417F-B3E6-278DE8FF856C}" destId="{E36CA741-5BC5-4A62-9CFC-D7EE84B3F965}" srcOrd="3" destOrd="0" parTransId="{4A5BD853-E535-4983-B1C1-549D30D61334}" sibTransId="{781ED441-C1AD-4EA9-9636-8463FD77C51E}"/>
    <dgm:cxn modelId="{B74327EB-A11D-422C-82F8-453C7FD42DB3}" srcId="{3065BC0F-0985-417F-B3E6-278DE8FF856C}" destId="{F40F5B50-4667-4BCF-AE82-639C2EF36E38}" srcOrd="1" destOrd="0" parTransId="{8B36601F-F847-4CD6-9F6C-B83CDE11F2F0}" sibTransId="{2BCA34A9-634C-4052-A5B2-B32425DED279}"/>
    <dgm:cxn modelId="{0E49383B-8A10-4B99-8768-739382CD9F76}" type="presParOf" srcId="{7C60B676-A79A-4F95-969D-190864F0AD26}" destId="{2E5DA867-38E0-4BF7-8EFB-20BEC13BABD7}" srcOrd="0" destOrd="0" presId="urn:microsoft.com/office/officeart/2008/layout/VerticalCurvedList"/>
    <dgm:cxn modelId="{4A08004B-873A-46F4-B658-CE572496A83A}" type="presParOf" srcId="{2E5DA867-38E0-4BF7-8EFB-20BEC13BABD7}" destId="{91856EEE-67EA-47B9-8E5D-435F40D45F65}" srcOrd="0" destOrd="0" presId="urn:microsoft.com/office/officeart/2008/layout/VerticalCurvedList"/>
    <dgm:cxn modelId="{EAFB15D3-9C0C-40C8-AE5D-02FB62ECC738}" type="presParOf" srcId="{91856EEE-67EA-47B9-8E5D-435F40D45F65}" destId="{9EEFD4F7-6F5D-4F24-9208-C6278B0DCB86}" srcOrd="0" destOrd="0" presId="urn:microsoft.com/office/officeart/2008/layout/VerticalCurvedList"/>
    <dgm:cxn modelId="{41F1DA3F-255A-4168-9AD1-EE7884D5E57D}" type="presParOf" srcId="{91856EEE-67EA-47B9-8E5D-435F40D45F65}" destId="{C84543F5-63AD-473C-ABD1-7D95E7AA0F4E}" srcOrd="1" destOrd="0" presId="urn:microsoft.com/office/officeart/2008/layout/VerticalCurvedList"/>
    <dgm:cxn modelId="{28AA396E-25FF-4B9F-8F28-D0ADB78E2FBE}" type="presParOf" srcId="{91856EEE-67EA-47B9-8E5D-435F40D45F65}" destId="{1B0C0003-1659-4C6A-9614-26F791517E8D}" srcOrd="2" destOrd="0" presId="urn:microsoft.com/office/officeart/2008/layout/VerticalCurvedList"/>
    <dgm:cxn modelId="{E821357F-6E1D-4B85-B320-32A3C958475D}" type="presParOf" srcId="{91856EEE-67EA-47B9-8E5D-435F40D45F65}" destId="{97898179-E199-4585-9751-D270F1000939}" srcOrd="3" destOrd="0" presId="urn:microsoft.com/office/officeart/2008/layout/VerticalCurvedList"/>
    <dgm:cxn modelId="{B35925C6-EA92-4A35-9B7C-2829BEDB0593}" type="presParOf" srcId="{2E5DA867-38E0-4BF7-8EFB-20BEC13BABD7}" destId="{4BEB9FD1-632D-4613-8DFD-DA8314D2463D}" srcOrd="1" destOrd="0" presId="urn:microsoft.com/office/officeart/2008/layout/VerticalCurvedList"/>
    <dgm:cxn modelId="{11A21340-7B33-4B82-8032-E1A6768CEB48}" type="presParOf" srcId="{2E5DA867-38E0-4BF7-8EFB-20BEC13BABD7}" destId="{92D71F2C-E6AE-44A9-9FEB-50EB49E5567F}" srcOrd="2" destOrd="0" presId="urn:microsoft.com/office/officeart/2008/layout/VerticalCurvedList"/>
    <dgm:cxn modelId="{2026D994-D8E3-48B4-8691-5070315C3A2B}" type="presParOf" srcId="{92D71F2C-E6AE-44A9-9FEB-50EB49E5567F}" destId="{32FEDAB8-7D6E-4888-A6CF-799CB97DC5E7}" srcOrd="0" destOrd="0" presId="urn:microsoft.com/office/officeart/2008/layout/VerticalCurvedList"/>
    <dgm:cxn modelId="{0D170D34-37F6-42F2-9861-DA2D695E9675}" type="presParOf" srcId="{2E5DA867-38E0-4BF7-8EFB-20BEC13BABD7}" destId="{8491E3A3-712D-44B4-8E48-E775048AA2EE}" srcOrd="3" destOrd="0" presId="urn:microsoft.com/office/officeart/2008/layout/VerticalCurvedList"/>
    <dgm:cxn modelId="{D05B004A-007C-4E61-918A-B47A607E1121}" type="presParOf" srcId="{2E5DA867-38E0-4BF7-8EFB-20BEC13BABD7}" destId="{870CDD97-6EDC-4848-A5F7-DFAB725F0377}" srcOrd="4" destOrd="0" presId="urn:microsoft.com/office/officeart/2008/layout/VerticalCurvedList"/>
    <dgm:cxn modelId="{4032CB17-C687-48A9-9BE1-4E6814853331}" type="presParOf" srcId="{870CDD97-6EDC-4848-A5F7-DFAB725F0377}" destId="{66ADAEB2-ED39-4544-90C2-74CB13B99456}" srcOrd="0" destOrd="0" presId="urn:microsoft.com/office/officeart/2008/layout/VerticalCurvedList"/>
    <dgm:cxn modelId="{6077A3CE-95EF-4CF4-BDAD-DE6BE315E1EE}" type="presParOf" srcId="{2E5DA867-38E0-4BF7-8EFB-20BEC13BABD7}" destId="{AF6199BD-52D3-4417-BEF2-575723C20D37}" srcOrd="5" destOrd="0" presId="urn:microsoft.com/office/officeart/2008/layout/VerticalCurvedList"/>
    <dgm:cxn modelId="{6D164D76-80A4-409F-A5F0-DAA17BEF5283}" type="presParOf" srcId="{2E5DA867-38E0-4BF7-8EFB-20BEC13BABD7}" destId="{CB78B1AF-EF6C-44D2-8B36-8214B71C2218}" srcOrd="6" destOrd="0" presId="urn:microsoft.com/office/officeart/2008/layout/VerticalCurvedList"/>
    <dgm:cxn modelId="{10E6D172-4B51-4601-8A3D-7FDA6FB1F562}" type="presParOf" srcId="{CB78B1AF-EF6C-44D2-8B36-8214B71C2218}" destId="{9C954C0A-CB99-4C82-ADB0-559A283BC39F}" srcOrd="0" destOrd="0" presId="urn:microsoft.com/office/officeart/2008/layout/VerticalCurvedList"/>
    <dgm:cxn modelId="{BCAD6ABB-7666-A446-99B1-AE84D8F01D84}" type="presParOf" srcId="{2E5DA867-38E0-4BF7-8EFB-20BEC13BABD7}" destId="{0084A962-130C-6043-9C4B-EE0928681D08}" srcOrd="7" destOrd="0" presId="urn:microsoft.com/office/officeart/2008/layout/VerticalCurvedList"/>
    <dgm:cxn modelId="{298C57D6-A45F-E844-B35E-2E5E3568F96A}" type="presParOf" srcId="{2E5DA867-38E0-4BF7-8EFB-20BEC13BABD7}" destId="{CEBA4DF5-A244-2549-B0EA-F0FEE4F74661}" srcOrd="8" destOrd="0" presId="urn:microsoft.com/office/officeart/2008/layout/VerticalCurvedList"/>
    <dgm:cxn modelId="{BE0F599C-3C5D-FB47-82AA-9FDE35702784}" type="presParOf" srcId="{CEBA4DF5-A244-2549-B0EA-F0FEE4F74661}" destId="{8E1008D4-9BEE-4C7E-BB5A-08EF3B62FD1F}" srcOrd="0" destOrd="0" presId="urn:microsoft.com/office/officeart/2008/layout/VerticalCurvedList"/>
    <dgm:cxn modelId="{4E10C1FA-EBF0-554F-B729-612B2026D44D}" type="presParOf" srcId="{2E5DA867-38E0-4BF7-8EFB-20BEC13BABD7}" destId="{5EFCEE4F-26EF-0F4B-8740-A1301D313B32}" srcOrd="9" destOrd="0" presId="urn:microsoft.com/office/officeart/2008/layout/VerticalCurvedList"/>
    <dgm:cxn modelId="{F57DF3A8-9CE7-A243-A7AC-DCDEF6A22071}" type="presParOf" srcId="{2E5DA867-38E0-4BF7-8EFB-20BEC13BABD7}" destId="{BF4FDABC-E369-5648-9127-6E480109F993}" srcOrd="10" destOrd="0" presId="urn:microsoft.com/office/officeart/2008/layout/VerticalCurvedList"/>
    <dgm:cxn modelId="{8E5D4EFC-64DF-AB4D-8AF5-7F7108FF62F1}" type="presParOf" srcId="{BF4FDABC-E369-5648-9127-6E480109F993}" destId="{5C6ADFF9-65CD-42A0-B543-B2F1410B942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4543F5-63AD-473C-ABD1-7D95E7AA0F4E}">
      <dsp:nvSpPr>
        <dsp:cNvPr id="0" name=""/>
        <dsp:cNvSpPr/>
      </dsp:nvSpPr>
      <dsp:spPr>
        <a:xfrm>
          <a:off x="-6532692" y="-999089"/>
          <a:ext cx="7775444" cy="7775444"/>
        </a:xfrm>
        <a:prstGeom prst="blockArc">
          <a:avLst>
            <a:gd name="adj1" fmla="val 18900000"/>
            <a:gd name="adj2" fmla="val 2700000"/>
            <a:gd name="adj3" fmla="val 27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EB9FD1-632D-4613-8DFD-DA8314D2463D}">
      <dsp:nvSpPr>
        <dsp:cNvPr id="0" name=""/>
        <dsp:cNvSpPr/>
      </dsp:nvSpPr>
      <dsp:spPr>
        <a:xfrm>
          <a:off x="542854" y="360963"/>
          <a:ext cx="8967103" cy="722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396" tIns="93980" rIns="93980" bIns="9398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rchitecture</a:t>
          </a:r>
        </a:p>
      </dsp:txBody>
      <dsp:txXfrm>
        <a:off x="542854" y="360963"/>
        <a:ext cx="8967103" cy="722389"/>
      </dsp:txXfrm>
    </dsp:sp>
    <dsp:sp modelId="{32FEDAB8-7D6E-4888-A6CF-799CB97DC5E7}">
      <dsp:nvSpPr>
        <dsp:cNvPr id="0" name=""/>
        <dsp:cNvSpPr/>
      </dsp:nvSpPr>
      <dsp:spPr>
        <a:xfrm>
          <a:off x="91361" y="270664"/>
          <a:ext cx="902986" cy="9029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91E3A3-712D-44B4-8E48-E775048AA2EE}">
      <dsp:nvSpPr>
        <dsp:cNvPr id="0" name=""/>
        <dsp:cNvSpPr/>
      </dsp:nvSpPr>
      <dsp:spPr>
        <a:xfrm>
          <a:off x="1022981" y="1444200"/>
          <a:ext cx="8449460" cy="722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396" tIns="93980" rIns="93980" bIns="9398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Server Design</a:t>
          </a:r>
        </a:p>
      </dsp:txBody>
      <dsp:txXfrm>
        <a:off x="1022981" y="1444200"/>
        <a:ext cx="8449460" cy="722389"/>
      </dsp:txXfrm>
    </dsp:sp>
    <dsp:sp modelId="{66ADAEB2-ED39-4544-90C2-74CB13B99456}">
      <dsp:nvSpPr>
        <dsp:cNvPr id="0" name=""/>
        <dsp:cNvSpPr/>
      </dsp:nvSpPr>
      <dsp:spPr>
        <a:xfrm>
          <a:off x="609003" y="1353902"/>
          <a:ext cx="902986" cy="9029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6199BD-52D3-4417-BEF2-575723C20D37}">
      <dsp:nvSpPr>
        <dsp:cNvPr id="0" name=""/>
        <dsp:cNvSpPr/>
      </dsp:nvSpPr>
      <dsp:spPr>
        <a:xfrm>
          <a:off x="1182561" y="2527437"/>
          <a:ext cx="8290586" cy="722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396" tIns="93980" rIns="93980" bIns="9398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List of REST APIs</a:t>
          </a:r>
        </a:p>
      </dsp:txBody>
      <dsp:txXfrm>
        <a:off x="1182561" y="2527437"/>
        <a:ext cx="8290586" cy="722389"/>
      </dsp:txXfrm>
    </dsp:sp>
    <dsp:sp modelId="{9C954C0A-CB99-4C82-ADB0-559A283BC39F}">
      <dsp:nvSpPr>
        <dsp:cNvPr id="0" name=""/>
        <dsp:cNvSpPr/>
      </dsp:nvSpPr>
      <dsp:spPr>
        <a:xfrm>
          <a:off x="767878" y="2437139"/>
          <a:ext cx="902986" cy="9029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84A962-130C-6043-9C4B-EE0928681D08}">
      <dsp:nvSpPr>
        <dsp:cNvPr id="0" name=""/>
        <dsp:cNvSpPr/>
      </dsp:nvSpPr>
      <dsp:spPr>
        <a:xfrm>
          <a:off x="1060497" y="3610675"/>
          <a:ext cx="8449460" cy="722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396" tIns="93980" rIns="93980" bIns="9398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UI</a:t>
          </a:r>
          <a:r>
            <a:rPr lang="en-US" sz="3700" kern="1200" baseline="0" dirty="0"/>
            <a:t> Mockup Screen</a:t>
          </a:r>
          <a:endParaRPr lang="en-US" sz="3700" kern="1200" dirty="0"/>
        </a:p>
      </dsp:txBody>
      <dsp:txXfrm>
        <a:off x="1060497" y="3610675"/>
        <a:ext cx="8449460" cy="722389"/>
      </dsp:txXfrm>
    </dsp:sp>
    <dsp:sp modelId="{8E1008D4-9BEE-4C7E-BB5A-08EF3B62FD1F}">
      <dsp:nvSpPr>
        <dsp:cNvPr id="0" name=""/>
        <dsp:cNvSpPr/>
      </dsp:nvSpPr>
      <dsp:spPr>
        <a:xfrm>
          <a:off x="609003" y="3520376"/>
          <a:ext cx="902986" cy="9029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FCEE4F-26EF-0F4B-8740-A1301D313B32}">
      <dsp:nvSpPr>
        <dsp:cNvPr id="0" name=""/>
        <dsp:cNvSpPr/>
      </dsp:nvSpPr>
      <dsp:spPr>
        <a:xfrm>
          <a:off x="542854" y="4693912"/>
          <a:ext cx="8967103" cy="722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396" tIns="93980" rIns="93980" bIns="9398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UI Design</a:t>
          </a:r>
        </a:p>
      </dsp:txBody>
      <dsp:txXfrm>
        <a:off x="542854" y="4693912"/>
        <a:ext cx="8967103" cy="722389"/>
      </dsp:txXfrm>
    </dsp:sp>
    <dsp:sp modelId="{5C6ADFF9-65CD-42A0-B543-B2F1410B9429}">
      <dsp:nvSpPr>
        <dsp:cNvPr id="0" name=""/>
        <dsp:cNvSpPr/>
      </dsp:nvSpPr>
      <dsp:spPr>
        <a:xfrm>
          <a:off x="91361" y="4603613"/>
          <a:ext cx="902986" cy="9029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B32D8C-52DD-4DA0-BEA4-61BCF7C2EDF9}" type="datetimeFigureOut">
              <a:rPr lang="en-GB" smtClean="0"/>
              <a:t>07/06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49DD2-7A7F-45D3-BF51-7B5A70AFB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87989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B76084-FF89-C546-BB62-0004C5E16AD5}" type="datetimeFigureOut">
              <a:rPr lang="en-US" smtClean="0"/>
              <a:t>6/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0"/>
            <a:r>
              <a:rPr lang="en-GB" dirty="0"/>
              <a:t>	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2FCB79-2C0C-F84D-A224-30C295992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343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17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835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252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669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085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504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5919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337" algn="l" defTabSz="60941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832" y="5158358"/>
            <a:ext cx="11059014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832" y="5478354"/>
            <a:ext cx="11059014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832" y="5798350"/>
            <a:ext cx="11059014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562" y="4281951"/>
            <a:ext cx="11067284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273" indent="0">
              <a:buNone/>
              <a:defRPr/>
            </a:lvl2pPr>
            <a:lvl3pPr marL="569726" indent="0">
              <a:buNone/>
              <a:defRPr/>
            </a:lvl3pPr>
            <a:lvl4pPr marL="688753" indent="0">
              <a:buNone/>
              <a:defRPr/>
            </a:lvl4pPr>
            <a:lvl5pPr marL="80142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539" y="3519969"/>
            <a:ext cx="11117307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2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625832" y="521745"/>
            <a:ext cx="1060428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275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274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013" y="1607864"/>
            <a:ext cx="5180251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9503" y="1607864"/>
            <a:ext cx="5180251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33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9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24346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015" y="1797051"/>
            <a:ext cx="10817582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6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537" y="5530961"/>
            <a:ext cx="9571256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70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015" y="1602318"/>
            <a:ext cx="10817582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537" y="5530961"/>
            <a:ext cx="9571256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27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719" y="1797051"/>
            <a:ext cx="11037201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825" marR="0" indent="-380825" algn="ctr" defTabSz="60932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82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2220243"/>
            <a:ext cx="4881427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399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499" indent="-152362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9861" indent="-152362">
              <a:buClr>
                <a:schemeClr val="tx2"/>
              </a:buClr>
              <a:buSzPct val="60000"/>
              <a:buFont typeface="Arial"/>
              <a:buChar char="•"/>
              <a:defRPr sz="18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223" indent="-152362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7" y="455085"/>
            <a:ext cx="491413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75661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8257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655" y="2209800"/>
            <a:ext cx="510195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4848" y="709083"/>
            <a:ext cx="4733750" cy="5412316"/>
          </a:xfrm>
          <a:prstGeom prst="rect">
            <a:avLst/>
          </a:prstGeom>
        </p:spPr>
        <p:txBody>
          <a:bodyPr lIns="0" rIns="0" anchor="ctr" anchorCtr="0"/>
          <a:lstStyle>
            <a:lvl1pPr marL="226427" indent="-226427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24" algn="l"/>
              </a:tabLst>
              <a:defRPr sz="3199"/>
            </a:lvl1pPr>
            <a:lvl2pPr marL="461318" indent="-22854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199"/>
            </a:lvl2pPr>
            <a:lvl3pPr marL="609448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6"/>
            </a:lvl3pPr>
            <a:lvl4pPr marL="766042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399"/>
            </a:lvl4pPr>
            <a:lvl5pPr marL="992469" indent="-1502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39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739" y="6322227"/>
            <a:ext cx="462118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4108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680720"/>
            <a:ext cx="5077074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4848" y="680720"/>
            <a:ext cx="4733750" cy="5440680"/>
          </a:xfrm>
          <a:prstGeom prst="rect">
            <a:avLst/>
          </a:prstGeom>
        </p:spPr>
        <p:txBody>
          <a:bodyPr lIns="0" rIns="0"/>
          <a:lstStyle>
            <a:lvl1pPr marL="152362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1pPr>
            <a:lvl2pPr marL="304724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2pPr>
            <a:lvl3pPr marL="457086" indent="-152362">
              <a:lnSpc>
                <a:spcPct val="100000"/>
              </a:lnSpc>
              <a:buClr>
                <a:schemeClr val="tx1"/>
              </a:buClr>
              <a:buSzPct val="60000"/>
              <a:defRPr sz="2399"/>
            </a:lvl3pPr>
            <a:lvl4pPr marL="609448" indent="-165059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042" indent="-156594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536" y="2213123"/>
            <a:ext cx="5077074" cy="3908277"/>
          </a:xfrm>
          <a:prstGeom prst="rect">
            <a:avLst/>
          </a:prstGeom>
        </p:spPr>
        <p:txBody>
          <a:bodyPr/>
          <a:lstStyle>
            <a:lvl1pPr marL="152362" indent="-152362">
              <a:buClr>
                <a:schemeClr val="tx2"/>
              </a:buClr>
              <a:buSzPct val="60000"/>
              <a:defRPr lang="en-US" sz="2666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24" indent="-152362">
              <a:buClr>
                <a:schemeClr val="tx2"/>
              </a:buClr>
              <a:buSzPct val="60000"/>
              <a:defRPr sz="2666">
                <a:solidFill>
                  <a:schemeClr val="bg1"/>
                </a:solidFill>
              </a:defRPr>
            </a:lvl2pPr>
            <a:lvl3pPr marL="457086" indent="-152362">
              <a:buClr>
                <a:schemeClr val="tx2"/>
              </a:buClr>
              <a:buSzPct val="60000"/>
              <a:defRPr sz="2399">
                <a:solidFill>
                  <a:schemeClr val="bg1"/>
                </a:solidFill>
              </a:defRPr>
            </a:lvl3pPr>
            <a:lvl4pPr marL="609448" indent="-16505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042" indent="-156594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47778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755126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089" y="1220545"/>
            <a:ext cx="10128084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028050-D077-4749-8AC4-FD09F726754F}"/>
              </a:ext>
            </a:extLst>
          </p:cNvPr>
          <p:cNvSpPr>
            <a:spLocks noChangeArrowheads="1"/>
          </p:cNvSpPr>
          <p:nvPr userDrawn="1"/>
        </p:nvSpPr>
        <p:spPr bwMode="white">
          <a:xfrm>
            <a:off x="0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endParaRPr lang="en-US">
              <a:latin typeface="+mj-lt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326FA617-830C-B24B-836A-EDE1888124D6}"/>
              </a:ext>
            </a:extLst>
          </p:cNvPr>
          <p:cNvSpPr>
            <a:spLocks noChangeArrowheads="1"/>
          </p:cNvSpPr>
          <p:nvPr userDrawn="1"/>
        </p:nvSpPr>
        <p:spPr bwMode="hidden">
          <a:xfrm>
            <a:off x="0" y="0"/>
            <a:ext cx="12188825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5842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4267" y="709084"/>
            <a:ext cx="4744331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4267" y="5416468"/>
            <a:ext cx="4744331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740" y="6322227"/>
            <a:ext cx="381656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7682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4267" y="709084"/>
            <a:ext cx="4744331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35032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258635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3928095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00265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5200" y="0"/>
            <a:ext cx="6083625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398121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71009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4267" y="670984"/>
            <a:ext cx="4744331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238791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12092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4267" y="670984"/>
            <a:ext cx="4744331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54152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027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/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6019" y="2838769"/>
            <a:ext cx="2156788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414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79413" y="274638"/>
            <a:ext cx="11430000" cy="639763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379413" y="1470806"/>
            <a:ext cx="11429999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05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089" y="1220545"/>
            <a:ext cx="10128084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853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255" y="5221411"/>
            <a:ext cx="10386438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97" y="2054069"/>
            <a:ext cx="10626896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51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255" y="5221411"/>
            <a:ext cx="10386438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97" y="2054069"/>
            <a:ext cx="10626896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4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8825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577" y="5233661"/>
            <a:ext cx="10849323" cy="663195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6"/>
              </a:lnSpc>
              <a:spcBef>
                <a:spcPts val="0"/>
              </a:spcBef>
              <a:buNone/>
              <a:defRPr sz="3199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594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1239832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224" y="4072691"/>
            <a:ext cx="11149410" cy="71596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6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4460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3288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9081261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2110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6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739" y="6322227"/>
            <a:ext cx="462118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algn="l" defTabSz="814122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576" y="320842"/>
            <a:ext cx="11304239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298522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636740" y="6322227"/>
            <a:ext cx="4533552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8531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</p:sldLayoutIdLst>
  <p:transition spd="slow">
    <p:wipe/>
  </p:transition>
  <p:txStyles>
    <p:titleStyle>
      <a:lvl1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2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5pPr>
      <a:lvl6pPr marL="609448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6pPr>
      <a:lvl7pPr marL="1218895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7pPr>
      <a:lvl8pPr marL="1828343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8pPr>
      <a:lvl9pPr marL="2437790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27" indent="-226427" algn="l" defTabSz="91205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47" indent="-287795" algn="l" defTabSz="91205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589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16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42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20" indent="-228536" algn="l" defTabSz="91414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480" indent="-228506" algn="l" defTabSz="914141" rtl="0" eaLnBrk="1" latinLnBrk="0" hangingPunct="1">
        <a:spcBef>
          <a:spcPts val="800"/>
        </a:spcBef>
        <a:buFont typeface="Arial" pitchFamily="34" charset="0"/>
        <a:buChar char="•"/>
        <a:defRPr sz="1066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493" indent="0" algn="l" defTabSz="91414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9" indent="-228536" algn="l" defTabSz="9141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067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4141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21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28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35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424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49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566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MAD Design Review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8609979" y="588418"/>
            <a:ext cx="3073162" cy="384075"/>
          </a:xfrm>
          <a:prstGeom prst="rect">
            <a:avLst/>
          </a:prstGeom>
        </p:spPr>
        <p:txBody>
          <a:bodyPr lIns="121862" tIns="60931" rIns="121862" bIns="60931"/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Tx/>
              <a:buNone/>
              <a:defRPr lang="en-US" sz="18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600" b="1" dirty="0">
              <a:latin typeface="CiscoSansTT" panose="020B0503020201020303" pitchFamily="34" charset="0"/>
            </a:endParaRP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68B176AA-65F5-4301-826D-3C44E6F9CCF7}"/>
              </a:ext>
            </a:extLst>
          </p:cNvPr>
          <p:cNvSpPr txBox="1">
            <a:spLocks/>
          </p:cNvSpPr>
          <p:nvPr/>
        </p:nvSpPr>
        <p:spPr bwMode="auto">
          <a:xfrm>
            <a:off x="8609979" y="5626358"/>
            <a:ext cx="3323874" cy="54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>
            <a:lvl1pPr marL="0" indent="0" algn="l" defTabSz="91205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5332" b="0" i="0" u="none" kern="120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ExtraLight"/>
              </a:defRPr>
            </a:lvl1pPr>
            <a:lvl2pPr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448"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895"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343"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790" algn="l" defTabSz="91205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6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800" b="1" dirty="0"/>
              <a:t>Jayant/Anuj – June 7</a:t>
            </a:r>
            <a:r>
              <a:rPr lang="en-US" sz="1800" b="1" baseline="30000" dirty="0"/>
              <a:t>th</a:t>
            </a:r>
            <a:r>
              <a:rPr lang="en-US" sz="1800" b="1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3193986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544E-F93B-CB43-9CA2-946BDF90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71B163-513E-AF41-B131-456240933B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4"/>
            <a:endParaRPr lang="en-US" sz="1866" dirty="0"/>
          </a:p>
          <a:p>
            <a:pPr lvl="5"/>
            <a:endParaRPr lang="en-US" sz="1600" dirty="0"/>
          </a:p>
          <a:p>
            <a:pPr marL="349162" lvl="2" indent="0">
              <a:buNone/>
            </a:pPr>
            <a:endParaRPr lang="en-US" dirty="0"/>
          </a:p>
          <a:p>
            <a:pPr lvl="2"/>
            <a:endParaRPr lang="en-US" dirty="0"/>
          </a:p>
          <a:p>
            <a:pPr marL="190452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9B299E4-4B62-43C6-BB08-50E025B78A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9269240"/>
              </p:ext>
            </p:extLst>
          </p:nvPr>
        </p:nvGraphicFramePr>
        <p:xfrm>
          <a:off x="2217208" y="806096"/>
          <a:ext cx="9592204" cy="57772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3102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544E-F93B-CB43-9CA2-946BDF90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 Archite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7EB53A-ADBD-7F4E-944F-876E39D00D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3987" y="1279682"/>
            <a:ext cx="8596104" cy="4928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52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544E-F93B-CB43-9CA2-946BDF90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 Desig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FDF3C2-BE30-7F4E-9740-8C8779A445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3456" y="933449"/>
            <a:ext cx="7704944" cy="537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83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544E-F93B-CB43-9CA2-946BDF90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of REST API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A4455F-456E-4E30-B351-9AAD66FAE629}"/>
              </a:ext>
            </a:extLst>
          </p:cNvPr>
          <p:cNvSpPr/>
          <p:nvPr/>
        </p:nvSpPr>
        <p:spPr>
          <a:xfrm>
            <a:off x="304210" y="1074162"/>
            <a:ext cx="10725873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b="1" dirty="0" err="1"/>
              <a:t>addMessage</a:t>
            </a:r>
            <a:r>
              <a:rPr lang="en-IN" sz="1400" dirty="0"/>
              <a:t> - POST - &lt;host&gt;/messag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b="1" dirty="0" err="1"/>
              <a:t>getMessage</a:t>
            </a:r>
            <a:r>
              <a:rPr lang="en-IN" sz="1400" dirty="0"/>
              <a:t> - GET  - &lt;host&gt;/message/search </a:t>
            </a:r>
          </a:p>
          <a:p>
            <a:r>
              <a:rPr lang="en-IN" sz="1400" dirty="0"/>
              <a:t> 	</a:t>
            </a:r>
            <a:r>
              <a:rPr lang="en-IN" sz="1400" b="1" i="1" dirty="0"/>
              <a:t>Response JSON Structure</a:t>
            </a:r>
            <a:endParaRPr lang="en-IN" sz="1400" i="1" dirty="0"/>
          </a:p>
          <a:p>
            <a:pPr lvl="1"/>
            <a:r>
              <a:rPr lang="en-IN" sz="1400" dirty="0"/>
              <a:t>    { messages: [ </a:t>
            </a:r>
          </a:p>
          <a:p>
            <a:pPr lvl="1"/>
            <a:r>
              <a:rPr lang="en-IN" sz="1400" dirty="0"/>
              <a:t>	{ </a:t>
            </a:r>
            <a:r>
              <a:rPr lang="en-IN" sz="1400" dirty="0" err="1"/>
              <a:t>messageId</a:t>
            </a:r>
            <a:r>
              <a:rPr lang="en-IN" sz="1400" dirty="0"/>
              <a:t>: 1, description: "M1", </a:t>
            </a:r>
            <a:r>
              <a:rPr lang="en-IN" sz="1400" dirty="0" err="1"/>
              <a:t>messageType</a:t>
            </a:r>
            <a:r>
              <a:rPr lang="en-IN" sz="1400" dirty="0"/>
              <a:t>: "ERROR", </a:t>
            </a:r>
            <a:r>
              <a:rPr lang="en-IN" sz="1400" dirty="0" err="1"/>
              <a:t>deviceId</a:t>
            </a:r>
            <a:r>
              <a:rPr lang="en-IN" sz="1400" dirty="0"/>
              <a:t>: 100, </a:t>
            </a:r>
          </a:p>
          <a:p>
            <a:pPr lvl="1"/>
            <a:r>
              <a:rPr lang="en-IN" sz="1400" dirty="0"/>
              <a:t>              </a:t>
            </a:r>
            <a:r>
              <a:rPr lang="en-IN" sz="1400" dirty="0" err="1"/>
              <a:t>messageTime</a:t>
            </a:r>
            <a:r>
              <a:rPr lang="en-IN" sz="1400" dirty="0"/>
              <a:t>: "01-01-2019", </a:t>
            </a:r>
            <a:r>
              <a:rPr lang="en-IN" sz="1400" dirty="0" err="1"/>
              <a:t>dataAdded</a:t>
            </a:r>
            <a:r>
              <a:rPr lang="en-IN" sz="1400" dirty="0"/>
              <a:t>: "01-01-2019" } </a:t>
            </a:r>
          </a:p>
          <a:p>
            <a:pPr lvl="1"/>
            <a:r>
              <a:rPr lang="en-IN" sz="1400" dirty="0"/>
              <a:t>        ]</a:t>
            </a:r>
          </a:p>
          <a:p>
            <a:pPr lvl="1"/>
            <a:r>
              <a:rPr lang="en-IN" sz="1400" dirty="0"/>
              <a:t>    }</a:t>
            </a:r>
          </a:p>
          <a:p>
            <a:r>
              <a:rPr lang="en-IN" sz="1400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b="1" dirty="0" err="1"/>
              <a:t>getStats</a:t>
            </a:r>
            <a:r>
              <a:rPr lang="en-IN" sz="1400" dirty="0"/>
              <a:t>  - GET  - &lt;host&gt;/message/stats</a:t>
            </a:r>
          </a:p>
          <a:p>
            <a:r>
              <a:rPr lang="en-IN" sz="1400" dirty="0"/>
              <a:t> 	</a:t>
            </a:r>
            <a:r>
              <a:rPr lang="en-IN" sz="1400" b="1" i="1" dirty="0"/>
              <a:t>Response JSON Structure</a:t>
            </a:r>
            <a:endParaRPr lang="en-IN" sz="1400" i="1" dirty="0"/>
          </a:p>
          <a:p>
            <a:pPr lvl="1"/>
            <a:r>
              <a:rPr lang="en-IN" sz="1400" dirty="0"/>
              <a:t>    {   </a:t>
            </a:r>
            <a:r>
              <a:rPr lang="en-IN" sz="1400" dirty="0" err="1"/>
              <a:t>totalCount</a:t>
            </a:r>
            <a:r>
              <a:rPr lang="en-IN" sz="1400" dirty="0"/>
              <a:t>: 1500, </a:t>
            </a:r>
          </a:p>
          <a:p>
            <a:pPr lvl="1"/>
            <a:r>
              <a:rPr lang="en-IN" sz="1400" dirty="0"/>
              <a:t>        </a:t>
            </a:r>
            <a:r>
              <a:rPr lang="en-IN" sz="1400" dirty="0" err="1"/>
              <a:t>messageTypeCount</a:t>
            </a:r>
            <a:r>
              <a:rPr lang="en-IN" sz="1400" dirty="0"/>
              <a:t>: {"ERROR": 200, "INFO": 1300}, </a:t>
            </a:r>
          </a:p>
          <a:p>
            <a:pPr lvl="1"/>
            <a:r>
              <a:rPr lang="en-IN" sz="1400" dirty="0"/>
              <a:t>        </a:t>
            </a:r>
            <a:r>
              <a:rPr lang="en-IN" sz="1400" dirty="0" err="1"/>
              <a:t>deviceIdCount</a:t>
            </a:r>
            <a:r>
              <a:rPr lang="en-IN" sz="1400" dirty="0"/>
              <a:t>: {"100": 850, "101": 650}, </a:t>
            </a:r>
          </a:p>
          <a:p>
            <a:pPr lvl="1"/>
            <a:r>
              <a:rPr lang="en-IN" sz="1400" dirty="0"/>
              <a:t>        </a:t>
            </a:r>
            <a:r>
              <a:rPr lang="en-IN" sz="1400" dirty="0" err="1"/>
              <a:t>messageTimeCount</a:t>
            </a:r>
            <a:r>
              <a:rPr lang="en-IN" sz="1400" dirty="0"/>
              <a:t>: {"01-01-2019": 1000, "02-01-2019": 500} </a:t>
            </a:r>
          </a:p>
          <a:p>
            <a:pPr lvl="1"/>
            <a:r>
              <a:rPr lang="en-IN" sz="1400" dirty="0"/>
              <a:t>    } </a:t>
            </a:r>
          </a:p>
          <a:p>
            <a:pPr lvl="1"/>
            <a:endParaRPr lang="en-IN" sz="1400" dirty="0"/>
          </a:p>
          <a:p>
            <a:r>
              <a:rPr lang="en-IN" sz="1400" b="1" dirty="0"/>
              <a:t>Header Response Codes </a:t>
            </a:r>
            <a:endParaRPr lang="en-I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code = 200, message = "Successfully retrieved messages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code = 404, message = "Message not found with given filters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/>
              <a:t>code = 500, message = "Some error occurred while performing operation"</a:t>
            </a:r>
          </a:p>
        </p:txBody>
      </p:sp>
    </p:spTree>
    <p:extLst>
      <p:ext uri="{BB962C8B-B14F-4D97-AF65-F5344CB8AC3E}">
        <p14:creationId xmlns:p14="http://schemas.microsoft.com/office/powerpoint/2010/main" val="74222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544E-F93B-CB43-9CA2-946BDF90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Mockup Scree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DFCFAC-68A8-0D46-B762-59AF674750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6033" y="274638"/>
            <a:ext cx="5084379" cy="623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77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544E-F93B-CB43-9CA2-946BDF90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Desig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C3348DD-C516-3F4F-BB50-B8CB534DB6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899" y="1300131"/>
            <a:ext cx="8499422" cy="4923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02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sco Corporate Template 2017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2017" id="{7B0383B0-E24B-2F43-BE39-7B15D8691D48}" vid="{9E4A1B3A-B685-924F-8A8E-1BE9FB55D97B}"/>
    </a:ext>
  </a:extLst>
</a:theme>
</file>

<file path=ppt/theme/theme2.xml><?xml version="1.0" encoding="utf-8"?>
<a:theme xmlns:a="http://schemas.openxmlformats.org/drawingml/2006/main" name="Office Theme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Sans Custom Font">
      <a:majorFont>
        <a:latin typeface="CiscoSansTT Thin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Sans Custom Font">
      <a:majorFont>
        <a:latin typeface="CiscoSansTT Thin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426</TotalTime>
  <Words>54</Words>
  <Application>Microsoft Macintosh PowerPoint</Application>
  <PresentationFormat>Custom</PresentationFormat>
  <Paragraphs>4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ＭＳ Ｐゴシック</vt:lpstr>
      <vt:lpstr>Arial</vt:lpstr>
      <vt:lpstr>CiscoSans</vt:lpstr>
      <vt:lpstr>CiscoSans ExtraLight</vt:lpstr>
      <vt:lpstr>CiscoSans Thin</vt:lpstr>
      <vt:lpstr>CiscoSansTT</vt:lpstr>
      <vt:lpstr>CiscoSansTT ExtraLight</vt:lpstr>
      <vt:lpstr>CiscoSansTT Thin</vt:lpstr>
      <vt:lpstr>Tipo de letra del sistema Fina</vt:lpstr>
      <vt:lpstr>Cisco Corporate Template 2017</vt:lpstr>
      <vt:lpstr>think-cell Slide</vt:lpstr>
      <vt:lpstr>CMAD Design Review</vt:lpstr>
      <vt:lpstr>Agenda  </vt:lpstr>
      <vt:lpstr>Application Architecture</vt:lpstr>
      <vt:lpstr>Server Design</vt:lpstr>
      <vt:lpstr>List of REST APIs</vt:lpstr>
      <vt:lpstr>UI Mockup Screens</vt:lpstr>
      <vt:lpstr>UI Design</vt:lpstr>
    </vt:vector>
  </TitlesOfParts>
  <Company>Cisco System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Start Steps</dc:title>
  <dc:creator>Information Technology</dc:creator>
  <cp:lastModifiedBy>Jayantilal Agrawal (jayagraw)</cp:lastModifiedBy>
  <cp:revision>837</cp:revision>
  <dcterms:created xsi:type="dcterms:W3CDTF">2014-01-21T16:00:12Z</dcterms:created>
  <dcterms:modified xsi:type="dcterms:W3CDTF">2019-06-07T04:01:20Z</dcterms:modified>
</cp:coreProperties>
</file>